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custSel modSld">
      <pc:chgData name="Weigel Stefan (PAR-EPS)" userId="fd3b2067-2981-4ad8-bf3a-d2e1004e4fa8" providerId="ADAL" clId="{A4CFA2F4-FF8D-446B-B271-6DF568DBEADA}" dt="2026-02-12T15:18:17.094" v="33" actId="27918"/>
      <pc:docMkLst>
        <pc:docMk/>
      </pc:docMkLst>
      <pc:sldChg chg="delSp modSp mod">
        <pc:chgData name="Weigel Stefan (PAR-EPS)" userId="fd3b2067-2981-4ad8-bf3a-d2e1004e4fa8" providerId="ADAL" clId="{A4CFA2F4-FF8D-446B-B271-6DF568DBEADA}" dt="2026-02-12T15:18:17.094" v="33" actId="27918"/>
        <pc:sldMkLst>
          <pc:docMk/>
          <pc:sldMk cId="1214120989" sldId="414"/>
        </pc:sldMkLst>
        <pc:spChg chg="mod">
          <ac:chgData name="Weigel Stefan (PAR-EPS)" userId="fd3b2067-2981-4ad8-bf3a-d2e1004e4fa8" providerId="ADAL" clId="{A4CFA2F4-FF8D-446B-B271-6DF568DBEADA}" dt="2026-01-23T15:07:07.676" v="1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23T15:11:36.418" v="30" actId="14100"/>
          <ac:spMkLst>
            <pc:docMk/>
            <pc:sldMk cId="1214120989" sldId="414"/>
            <ac:spMk id="11" creationId="{51A102DA-4F4E-474F-9E16-1E7F70764A16}"/>
          </ac:spMkLst>
        </pc:spChg>
        <pc:graphicFrameChg chg="mod">
          <ac:chgData name="Weigel Stefan (PAR-EPS)" userId="fd3b2067-2981-4ad8-bf3a-d2e1004e4fa8" providerId="ADAL" clId="{A4CFA2F4-FF8D-446B-B271-6DF568DBEADA}" dt="2026-01-23T15:11:04.321" v="27"/>
          <ac:graphicFrameMkLst>
            <pc:docMk/>
            <pc:sldMk cId="1214120989" sldId="414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295641441024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Passenger traffic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5D4-4285-A30B-5A4D4DB73DD8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A9B-427B-8C27-CF61D8E28F2B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9-85D4-4285-A30B-5A4D4DB73DD8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SBB (CH)</c:v>
                </c:pt>
              </c:strCache>
            </c:strRef>
          </c:cat>
          <c:val>
            <c:numRef>
              <c:f>data!$M$3:$M$16</c:f>
              <c:numCache>
                <c:formatCode>0.00</c:formatCode>
                <c:ptCount val="14"/>
                <c:pt idx="0">
                  <c:v>11.252081492302199</c:v>
                </c:pt>
                <c:pt idx="1">
                  <c:v>16.719168403461101</c:v>
                </c:pt>
                <c:pt idx="2">
                  <c:v>16.560656661539401</c:v>
                </c:pt>
                <c:pt idx="3">
                  <c:v>31.442144743295099</c:v>
                </c:pt>
                <c:pt idx="4">
                  <c:v>29.2914167312363</c:v>
                </c:pt>
                <c:pt idx="5">
                  <c:v>38.068289116684703</c:v>
                </c:pt>
                <c:pt idx="6">
                  <c:v>34.669383139846602</c:v>
                </c:pt>
                <c:pt idx="7">
                  <c:v>41.6557803733429</c:v>
                </c:pt>
                <c:pt idx="8">
                  <c:v>51.269371444093601</c:v>
                </c:pt>
                <c:pt idx="9">
                  <c:v>63.044588939120999</c:v>
                </c:pt>
                <c:pt idx="10">
                  <c:v>67.679849808449106</c:v>
                </c:pt>
                <c:pt idx="11">
                  <c:v>69.207671492607304</c:v>
                </c:pt>
                <c:pt idx="12">
                  <c:v>127.374980292171</c:v>
                </c:pt>
                <c:pt idx="13">
                  <c:v>139.456296060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Freight traffic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A9B-427B-8C27-CF61D8E28F2B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8-85D4-4285-A30B-5A4D4DB73DD8}"/>
              </c:ext>
            </c:extLst>
          </c:dPt>
          <c:cat>
            <c:strRef>
              <c:f>data!$L$3:$L$16</c:f>
              <c:strCache>
                <c:ptCount val="14"/>
                <c:pt idx="0">
                  <c:v>OSE (GR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SNCF Réseau (FR)</c:v>
                </c:pt>
                <c:pt idx="6">
                  <c:v>Trafikverket (SE)</c:v>
                </c:pt>
                <c:pt idx="7">
                  <c:v>SZDC (CZ)</c:v>
                </c:pt>
                <c:pt idx="8">
                  <c:v>FS (IT)</c:v>
                </c:pt>
                <c:pt idx="9">
                  <c:v>Infrabel (BE)</c:v>
                </c:pt>
                <c:pt idx="10">
                  <c:v>ÖBB (AT)</c:v>
                </c:pt>
                <c:pt idx="11">
                  <c:v>DB AG (DE)</c:v>
                </c:pt>
                <c:pt idx="12">
                  <c:v>ProRail (NL)</c:v>
                </c:pt>
                <c:pt idx="13">
                  <c:v>SBB (CH)</c:v>
                </c:pt>
              </c:strCache>
            </c:strRef>
          </c:cat>
          <c:val>
            <c:numRef>
              <c:f>data!$N$3:$N$16</c:f>
              <c:numCache>
                <c:formatCode>0.00</c:formatCode>
                <c:ptCount val="14"/>
                <c:pt idx="0">
                  <c:v>1.1271618965175201</c:v>
                </c:pt>
                <c:pt idx="1">
                  <c:v>5.6141799856754799</c:v>
                </c:pt>
                <c:pt idx="2">
                  <c:v>5.8714299571802702</c:v>
                </c:pt>
                <c:pt idx="3">
                  <c:v>4.3077073439760696</c:v>
                </c:pt>
                <c:pt idx="4">
                  <c:v>11.5074770233525</c:v>
                </c:pt>
                <c:pt idx="5">
                  <c:v>6.7179333735325901</c:v>
                </c:pt>
                <c:pt idx="6">
                  <c:v>10.446652611283</c:v>
                </c:pt>
                <c:pt idx="7">
                  <c:v>9.9496337237202006</c:v>
                </c:pt>
                <c:pt idx="8">
                  <c:v>8.0561312311801903</c:v>
                </c:pt>
                <c:pt idx="9">
                  <c:v>6.9465499091667899</c:v>
                </c:pt>
                <c:pt idx="10">
                  <c:v>21.833966028309</c:v>
                </c:pt>
                <c:pt idx="11">
                  <c:v>20.801279822619001</c:v>
                </c:pt>
                <c:pt idx="12">
                  <c:v>9.5943718946092904</c:v>
                </c:pt>
                <c:pt idx="13">
                  <c:v>22.505326399370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531415910283836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3</cdr:x>
      <cdr:y>0.0141</cdr:y>
    </cdr:from>
    <cdr:to>
      <cdr:x>0.90375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896596" y="63972"/>
          <a:ext cx="84054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Train </a:t>
          </a:r>
          <a:r>
            <a:rPr lang="de-CH" sz="1100" dirty="0" err="1">
              <a:solidFill>
                <a:schemeClr val="tx2"/>
              </a:solidFill>
            </a:rPr>
            <a:t>density</a:t>
          </a:r>
          <a:endParaRPr lang="de-CH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510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load in Europe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79857428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538029" y="3879090"/>
            <a:ext cx="408343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lang="fr-FR" sz="900" kern="0" dirty="0">
                <a:solidFill>
                  <a:schemeClr val="tx2"/>
                </a:solidFill>
              </a:rPr>
              <a:t>CFR </a:t>
            </a:r>
            <a:r>
              <a:rPr lang="fr-FR" sz="900" kern="0" dirty="0" err="1">
                <a:solidFill>
                  <a:schemeClr val="tx2"/>
                </a:solidFill>
              </a:rPr>
              <a:t>Infrastructură</a:t>
            </a:r>
            <a:r>
              <a:rPr lang="fr-FR" sz="900" kern="0" dirty="0">
                <a:solidFill>
                  <a:schemeClr val="tx2"/>
                </a:solidFill>
              </a:rPr>
              <a:t>, SNCF Réseau, </a:t>
            </a:r>
            <a:r>
              <a:rPr lang="fr-FR" sz="900" kern="0" dirty="0" err="1">
                <a:solidFill>
                  <a:schemeClr val="tx2"/>
                </a:solidFill>
              </a:rPr>
              <a:t>Infrabel</a:t>
            </a:r>
            <a:r>
              <a:rPr lang="fr-FR" sz="900" kern="0" dirty="0">
                <a:solidFill>
                  <a:schemeClr val="tx2"/>
                </a:solidFill>
              </a:rPr>
              <a:t>, </a:t>
            </a:r>
            <a:r>
              <a:rPr lang="fr-FR" sz="900" kern="0" dirty="0" err="1">
                <a:solidFill>
                  <a:schemeClr val="tx2"/>
                </a:solidFill>
              </a:rPr>
              <a:t>ProRail</a:t>
            </a:r>
            <a:r>
              <a:rPr lang="fr-FR" sz="900" kern="0" dirty="0">
                <a:solidFill>
                  <a:schemeClr val="tx2"/>
                </a:solidFill>
              </a:rPr>
              <a:t>: 2023.</a:t>
            </a:r>
            <a:endParaRPr kumimoji="0" lang="de-CH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trains per route per day on the railway infrastructu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2E94FB4-FF5A-4A4F-2647-59A1E4A5872A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120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D1913B6-C7F2-4C95-846B-5790BE9320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etwork load in Europe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load in Europe in 2022.</dc:title>
  <dc:creator>Meyer Raphael (KOM-PGA-VSF)</dc:creator>
  <cp:lastModifiedBy>Weigel Stefan (PAR-EPS)</cp:lastModifiedBy>
  <cp:revision>24</cp:revision>
  <cp:lastPrinted>2024-02-13T15:46:53Z</cp:lastPrinted>
  <dcterms:created xsi:type="dcterms:W3CDTF">2020-09-30T11:00:09Z</dcterms:created>
  <dcterms:modified xsi:type="dcterms:W3CDTF">2026-03-03T13:5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